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7"/>
  </p:notesMasterIdLst>
  <p:handoutMasterIdLst>
    <p:handoutMasterId r:id="rId8"/>
  </p:handoutMasterIdLst>
  <p:sldIdLst>
    <p:sldId id="656" r:id="rId3"/>
    <p:sldId id="910" r:id="rId4"/>
    <p:sldId id="908" r:id="rId5"/>
    <p:sldId id="909" r:id="rId6"/>
  </p:sldIdLst>
  <p:sldSz cx="12192000" cy="6858000"/>
  <p:notesSz cx="6805613" cy="9944100"/>
  <p:custDataLst>
    <p:tags r:id="rId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279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pos="7355" userDrawn="1">
          <p15:clr>
            <a:srgbClr val="A4A3A4"/>
          </p15:clr>
        </p15:guide>
        <p15:guide id="6" orient="horz" pos="3203" userDrawn="1">
          <p15:clr>
            <a:srgbClr val="A4A3A4"/>
          </p15:clr>
        </p15:guide>
        <p15:guide id="7" orient="horz" pos="3770" userDrawn="1">
          <p15:clr>
            <a:srgbClr val="A4A3A4"/>
          </p15:clr>
        </p15:guide>
        <p15:guide id="8" orient="horz" pos="1525" userDrawn="1">
          <p15:clr>
            <a:srgbClr val="A4A3A4"/>
          </p15:clr>
        </p15:guide>
        <p15:guide id="9" pos="1958" userDrawn="1">
          <p15:clr>
            <a:srgbClr val="A4A3A4"/>
          </p15:clr>
        </p15:guide>
        <p15:guide id="10" orient="horz" pos="1003" userDrawn="1">
          <p15:clr>
            <a:srgbClr val="A4A3A4"/>
          </p15:clr>
        </p15:guide>
        <p15:guide id="11" orient="horz" pos="550" userDrawn="1">
          <p15:clr>
            <a:srgbClr val="A4A3A4"/>
          </p15:clr>
        </p15:guide>
        <p15:guide id="13" pos="2593" userDrawn="1">
          <p15:clr>
            <a:srgbClr val="A4A3A4"/>
          </p15:clr>
        </p15:guide>
        <p15:guide id="14" orient="horz" pos="187" userDrawn="1">
          <p15:clr>
            <a:srgbClr val="A4A3A4"/>
          </p15:clr>
        </p15:guide>
        <p15:guide id="15" orient="horz" pos="150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" initials="v" lastIdx="1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5DAE"/>
    <a:srgbClr val="2D2B8D"/>
    <a:srgbClr val="0073B8"/>
    <a:srgbClr val="6D86C4"/>
    <a:srgbClr val="FF4747"/>
    <a:srgbClr val="008F96"/>
    <a:srgbClr val="3D9FBD"/>
    <a:srgbClr val="CBD6F1"/>
    <a:srgbClr val="5A4888"/>
    <a:srgbClr val="2947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43" autoAdjust="0"/>
    <p:restoredTop sz="96408" autoAdjust="0"/>
  </p:normalViewPr>
  <p:slideViewPr>
    <p:cSldViewPr snapToGrid="0">
      <p:cViewPr varScale="1">
        <p:scale>
          <a:sx n="116" d="100"/>
          <a:sy n="116" d="100"/>
        </p:scale>
        <p:origin x="396" y="108"/>
      </p:cViewPr>
      <p:guideLst>
        <p:guide pos="279"/>
        <p:guide pos="3840"/>
        <p:guide pos="7355"/>
        <p:guide orient="horz" pos="3203"/>
        <p:guide orient="horz" pos="3770"/>
        <p:guide orient="horz" pos="1525"/>
        <p:guide pos="1958"/>
        <p:guide orient="horz" pos="1003"/>
        <p:guide orient="horz" pos="550"/>
        <p:guide pos="2593"/>
        <p:guide orient="horz" pos="187"/>
        <p:guide orient="horz" pos="1501"/>
      </p:guideLst>
    </p:cSldViewPr>
  </p:slideViewPr>
  <p:outlineViewPr>
    <p:cViewPr>
      <p:scale>
        <a:sx n="33" d="100"/>
        <a:sy n="33" d="100"/>
      </p:scale>
      <p:origin x="0" y="121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1817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E0B01-5135-4C2C-8993-28414D4B3686}" type="datetimeFigureOut">
              <a:rPr lang="ru-RU" smtClean="0"/>
              <a:t>11.08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374D61-2BC5-456A-87AC-0423C80EC8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69538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0488621D-33F7-43DA-9DA1-6B62CCF928AF}" type="datetimeFigureOut">
              <a:rPr lang="ru-RU" smtClean="0"/>
              <a:pPr/>
              <a:t>11.08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363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77668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04557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81173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1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1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1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917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B73E46-0FBB-4229-8CBB-09B80B167E3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72904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3557EA-3183-4660-8887-18C9CD5B6E0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3669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F90D3-F678-4AA2-BC13-F0EC35626B6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19209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7AC885-7A1B-43F1-B6BC-ED1A2B1ACC3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51233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E4AC57-9A0D-4DE7-838A-D5602519448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9717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A0E761-F77E-4A44-9560-BCDED5BAEA7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63948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EEF47A-FFA2-487B-BADC-239AA6539AA6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23477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47C012-AF97-4E12-B15C-9F146888FEC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7981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1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750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3B024-6757-4AF0-8BCF-365FC435FEB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88911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8878E5-7E8C-468C-B0D8-54E5FDFA2C06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78492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26D4D7-FBB8-45CF-B201-8D5D147BA64A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60600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1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1.08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1.08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1.08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1.08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1.08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1.08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/>
              <a:pPr/>
              <a:t>11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18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xmlns="" id="{336A5C21-8560-4361-BC34-8E7691E5D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20AD9F-A03A-4659-8941-6477DDD5F1F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1421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Relationship Id="rId9" Type="http://schemas.openxmlformats.org/officeDocument/2006/relationships/image" Target="NUL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13" Type="http://schemas.openxmlformats.org/officeDocument/2006/relationships/image" Target="../media/image11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jpeg"/><Relationship Id="rId12" Type="http://schemas.openxmlformats.org/officeDocument/2006/relationships/image" Target="../media/image10.jpe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9.jpe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13.jpeg"/><Relationship Id="rId10" Type="http://schemas.openxmlformats.org/officeDocument/2006/relationships/image" Target="../media/image8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7.jpeg"/><Relationship Id="rId14" Type="http://schemas.openxmlformats.org/officeDocument/2006/relationships/image" Target="../media/image1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984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xmlns="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95738" y="2639553"/>
            <a:ext cx="10216392" cy="789447"/>
          </a:xfrm>
        </p:spPr>
        <p:txBody>
          <a:bodyPr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ru-RU" sz="5400" smtClean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НОВИНКИ ОКТЯБРЯ </a:t>
            </a:r>
            <a:r>
              <a:rPr lang="ru-RU" sz="5400" dirty="0" smtClean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2021</a:t>
            </a:r>
            <a:endParaRPr lang="ru-RU" sz="5400" dirty="0">
              <a:solidFill>
                <a:schemeClr val="bg1"/>
              </a:solidFill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chemeClr val="bg1"/>
              </a:solidFill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xmlns="" id="{C5B8FA12-8F11-450D-B1D4-14C77A453207}"/>
              </a:ext>
            </a:extLst>
          </p:cNvPr>
          <p:cNvGrpSpPr/>
          <p:nvPr/>
        </p:nvGrpSpPr>
        <p:grpSpPr>
          <a:xfrm>
            <a:off x="9480931" y="5602514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8265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04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7ED3B4AB-2944-4CB8-974F-92CE170CCDE7}"/>
              </a:ext>
            </a:extLst>
          </p:cNvPr>
          <p:cNvSpPr/>
          <p:nvPr/>
        </p:nvSpPr>
        <p:spPr>
          <a:xfrm rot="10800000">
            <a:off x="7140775" y="0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721DBF65-A5EE-42BD-A8DA-21D7B69EA723}"/>
              </a:ext>
            </a:extLst>
          </p:cNvPr>
          <p:cNvSpPr txBox="1"/>
          <p:nvPr/>
        </p:nvSpPr>
        <p:spPr>
          <a:xfrm>
            <a:off x="1717731" y="2129838"/>
            <a:ext cx="4607542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оррекционная педагогика</a:t>
            </a:r>
            <a:endParaRPr kumimoji="0" lang="ru-RU" sz="32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0" name="Номер слайда 2">
            <a:extLst>
              <a:ext uri="{FF2B5EF4-FFF2-40B4-BE49-F238E27FC236}">
                <a16:creationId xmlns:a16="http://schemas.microsoft.com/office/drawing/2014/main" xmlns="" id="{3FC4D94E-3F7B-457C-A7CE-EAF00E7B718A}"/>
              </a:ext>
            </a:extLst>
          </p:cNvPr>
          <p:cNvSpPr txBox="1">
            <a:spLocks/>
          </p:cNvSpPr>
          <p:nvPr/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576954" y="1933225"/>
            <a:ext cx="935645" cy="935641"/>
            <a:chOff x="576954" y="1933225"/>
            <a:chExt cx="935645" cy="935641"/>
          </a:xfrm>
        </p:grpSpPr>
        <p:sp>
          <p:nvSpPr>
            <p:cNvPr id="23" name="Овал 22">
              <a:extLst>
                <a:ext uri="{FF2B5EF4-FFF2-40B4-BE49-F238E27FC236}">
                  <a16:creationId xmlns:a16="http://schemas.microsoft.com/office/drawing/2014/main" xmlns="" id="{6C2484BF-A76B-4B95-9B8A-5C002E16225E}"/>
                </a:ext>
              </a:extLst>
            </p:cNvPr>
            <p:cNvSpPr/>
            <p:nvPr/>
          </p:nvSpPr>
          <p:spPr>
            <a:xfrm>
              <a:off x="576954" y="1933225"/>
              <a:ext cx="935645" cy="935641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xmlns="" id="{F556AEBB-BC7B-48BB-B38B-4137C2A55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733" y="2054475"/>
              <a:ext cx="656087" cy="656087"/>
            </a:xfrm>
            <a:prstGeom prst="rect">
              <a:avLst/>
            </a:prstGeom>
          </p:spPr>
        </p:pic>
      </p:grpSp>
      <p:grpSp>
        <p:nvGrpSpPr>
          <p:cNvPr id="14" name="Группа 13"/>
          <p:cNvGrpSpPr/>
          <p:nvPr/>
        </p:nvGrpSpPr>
        <p:grpSpPr>
          <a:xfrm>
            <a:off x="7483075" y="2245973"/>
            <a:ext cx="728340" cy="728336"/>
            <a:chOff x="7559745" y="1617031"/>
            <a:chExt cx="728340" cy="728336"/>
          </a:xfrm>
        </p:grpSpPr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xmlns="" id="{1B3EF5EA-9F06-4458-A78A-6CE112383FDD}"/>
                </a:ext>
              </a:extLst>
            </p:cNvPr>
            <p:cNvSpPr/>
            <p:nvPr/>
          </p:nvSpPr>
          <p:spPr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16" name="Рисунок 15" descr="Попасть в яблочко">
              <a:extLst>
                <a:ext uri="{FF2B5EF4-FFF2-40B4-BE49-F238E27FC236}">
                  <a16:creationId xmlns:a16="http://schemas.microsoft.com/office/drawing/2014/main" xmlns="" id="{3332B0D8-A807-4EFC-AFB5-23A266151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sp>
        <p:nvSpPr>
          <p:cNvPr id="17" name="Прямоугольник 16"/>
          <p:cNvSpPr/>
          <p:nvPr/>
        </p:nvSpPr>
        <p:spPr>
          <a:xfrm>
            <a:off x="8379948" y="2435700"/>
            <a:ext cx="3170545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мерные программ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0304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07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57616" y="355632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Серия</a:t>
            </a:r>
            <a:r>
              <a:rPr lang="ru-RU" dirty="0"/>
              <a:t> </a:t>
            </a:r>
            <a:r>
              <a:rPr lang="ru-RU" dirty="0" smtClean="0"/>
              <a:t>«</a:t>
            </a:r>
            <a:r>
              <a:rPr lang="ru-RU" dirty="0"/>
              <a:t>ФГОС ОВЗ</a:t>
            </a:r>
            <a:r>
              <a:rPr lang="ru-RU" dirty="0" smtClean="0"/>
              <a:t>»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3198518" y="1484396"/>
            <a:ext cx="7593201" cy="34419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solidFill>
                  <a:prstClr val="black"/>
                </a:solidFill>
              </a:rPr>
              <a:t>Примерные рабочие программы по учебным предметам и коррекционным </a:t>
            </a:r>
            <a:r>
              <a:rPr lang="ru-RU" sz="1400" dirty="0" smtClean="0">
                <a:solidFill>
                  <a:prstClr val="black"/>
                </a:solidFill>
              </a:rPr>
              <a:t>курсам </a:t>
            </a:r>
            <a:r>
              <a:rPr lang="ru-RU" sz="1400" dirty="0" smtClean="0"/>
              <a:t>разработаны </a:t>
            </a:r>
            <a:r>
              <a:rPr lang="ru-RU" sz="1400" dirty="0"/>
              <a:t>в соответствии с требованиями ФГОС НОО обучающихся с ОВЗ для </a:t>
            </a:r>
            <a:r>
              <a:rPr lang="ru-RU" sz="1400" dirty="0" smtClean="0"/>
              <a:t>2 классов.</a:t>
            </a:r>
          </a:p>
          <a:p>
            <a:pPr algn="just"/>
            <a:endParaRPr lang="ru-RU" sz="1400" dirty="0" smtClean="0"/>
          </a:p>
          <a:p>
            <a:pPr algn="just">
              <a:spcAft>
                <a:spcPts val="600"/>
              </a:spcAft>
            </a:pPr>
            <a:r>
              <a:rPr lang="ru-RU" sz="1400" dirty="0" smtClean="0"/>
              <a:t>Каждая </a:t>
            </a:r>
            <a:r>
              <a:rPr lang="ru-RU" sz="1400" dirty="0"/>
              <a:t>примерная рабочая программа содержит:</a:t>
            </a:r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пояснительную записку;</a:t>
            </a:r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основное содержание учебного предмета, коррекционного курса;</a:t>
            </a:r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календарно-тематическое планирование;</a:t>
            </a:r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рекомендации по учебно-методическому и материально-техническому обеспечению образовательной деятельности;</a:t>
            </a:r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планируемые результаты изучения учебного предмета, курса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ru-RU" sz="1400" dirty="0" smtClean="0"/>
          </a:p>
          <a:p>
            <a:pPr algn="just"/>
            <a:r>
              <a:rPr lang="ru-RU" sz="1400" dirty="0"/>
              <a:t>Все программы одобрены решением федерального учебно-методического объединения по общему образованию (протокол №3/20 от 17.09.2020)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ru-RU" sz="14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824" y="1451642"/>
            <a:ext cx="2613429" cy="34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 descr="Y:\Мои файлы\2021\Программы 2-3 классы\Обложки\40-1291-01_cover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7632" y="5052132"/>
            <a:ext cx="1237217" cy="16535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 descr="Y:\Мои файлы\2021\Программы 2-3 классы\Обложки\40-1293-01_cover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824" y="5052132"/>
            <a:ext cx="1263650" cy="16535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Рисунок 11" descr="Y:\Мои файлы\2021\Программы 2-3 классы\Обложки\40-1289-01_cover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0007" y="5046417"/>
            <a:ext cx="1268095" cy="16592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Рисунок 12" descr="Y:\Мои файлы\2021\Программы 2-3 классы\Обложки\40-1295-01_cover.jpg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3260" y="5046417"/>
            <a:ext cx="1248410" cy="16338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Рисунок 14" descr="Y:\Мои файлы\2021\Программы 2-3 классы\Обложки\40-1301-01_cover.jpg"/>
          <p:cNvPicPr/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829" y="5046417"/>
            <a:ext cx="1259580" cy="16338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Рисунок 15" descr="Y:\Мои файлы\2021\Программы 2-3 классы\Обложки\40-1299-01_cover.jpg"/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245" y="5041660"/>
            <a:ext cx="1251585" cy="16383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Рисунок 16" descr="Y:\Мои файлы\2021\Программы 2-3 классы\Обложки\40-1303-01_cover.jpg"/>
          <p:cNvPicPr/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2814" y="5052133"/>
            <a:ext cx="1193662" cy="16278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Рисунок 17" descr="Y:\Мои файлы\2021\Программы 2-3 классы\Обложки\40-1305-01_cover.jpg"/>
          <p:cNvPicPr/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7994" y="5052132"/>
            <a:ext cx="1191049" cy="16278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61907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09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1500701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57616" y="355632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Серия</a:t>
            </a:r>
            <a:r>
              <a:rPr lang="ru-RU" dirty="0"/>
              <a:t> </a:t>
            </a:r>
            <a:r>
              <a:rPr lang="ru-RU" dirty="0" smtClean="0"/>
              <a:t>«</a:t>
            </a:r>
            <a:r>
              <a:rPr lang="ru-RU" dirty="0"/>
              <a:t>ФГОС ОВЗ</a:t>
            </a:r>
            <a:r>
              <a:rPr lang="ru-RU" dirty="0" smtClean="0"/>
              <a:t>»</a:t>
            </a:r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8466559"/>
              </p:ext>
            </p:extLst>
          </p:nvPr>
        </p:nvGraphicFramePr>
        <p:xfrm>
          <a:off x="363656" y="1452535"/>
          <a:ext cx="11241155" cy="3766444"/>
        </p:xfrm>
        <a:graphic>
          <a:graphicData uri="http://schemas.openxmlformats.org/drawingml/2006/table">
            <a:tbl>
              <a:tblPr/>
              <a:tblGrid>
                <a:gridCol w="748759">
                  <a:extLst>
                    <a:ext uri="{9D8B030D-6E8A-4147-A177-3AD203B41FA5}">
                      <a16:colId xmlns:a16="http://schemas.microsoft.com/office/drawing/2014/main" xmlns="" val="4244176869"/>
                    </a:ext>
                  </a:extLst>
                </a:gridCol>
                <a:gridCol w="8103220">
                  <a:extLst>
                    <a:ext uri="{9D8B030D-6E8A-4147-A177-3AD203B41FA5}">
                      <a16:colId xmlns:a16="http://schemas.microsoft.com/office/drawing/2014/main" xmlns="" val="615967520"/>
                    </a:ext>
                  </a:extLst>
                </a:gridCol>
                <a:gridCol w="699492">
                  <a:extLst>
                    <a:ext uri="{9D8B030D-6E8A-4147-A177-3AD203B41FA5}">
                      <a16:colId xmlns:a16="http://schemas.microsoft.com/office/drawing/2014/main" xmlns="" val="3585334052"/>
                    </a:ext>
                  </a:extLst>
                </a:gridCol>
                <a:gridCol w="855967">
                  <a:extLst>
                    <a:ext uri="{9D8B030D-6E8A-4147-A177-3AD203B41FA5}">
                      <a16:colId xmlns:a16="http://schemas.microsoft.com/office/drawing/2014/main" xmlns="" val="1008523400"/>
                    </a:ext>
                  </a:extLst>
                </a:gridCol>
                <a:gridCol w="833717">
                  <a:extLst>
                    <a:ext uri="{9D8B030D-6E8A-4147-A177-3AD203B41FA5}">
                      <a16:colId xmlns:a16="http://schemas.microsoft.com/office/drawing/2014/main" xmlns="" val="2344288815"/>
                    </a:ext>
                  </a:extLst>
                </a:gridCol>
              </a:tblGrid>
              <a:tr h="4208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д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аименование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ормат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л-во страниц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расочность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96183790"/>
                  </a:ext>
                </a:extLst>
              </a:tr>
              <a:tr h="4208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301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НОО обучающихся с задержкой психического развития.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ариант 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 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23451141"/>
                  </a:ext>
                </a:extLst>
              </a:tr>
              <a:tr h="4208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291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НОО слабослышащих и позднооглохших обучающихся.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арианты 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, 2.3. 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054573924"/>
                  </a:ext>
                </a:extLst>
              </a:tr>
              <a:tr h="31036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289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НОО глухих обучающихся. Варианты 1.2, 1.3. 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67049805"/>
                  </a:ext>
                </a:extLst>
              </a:tr>
              <a:tr h="4208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297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НОО обучающихся с тяжёлыми нарушениями речи.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ариант 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2. 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869677159"/>
                  </a:ext>
                </a:extLst>
              </a:tr>
              <a:tr h="31036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299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НОО обучающихся с НОДА. Варианты 6.2, 6.3.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2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40828977"/>
                  </a:ext>
                </a:extLst>
              </a:tr>
              <a:tr h="4208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305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образования обучающихся с умственной отсталостью.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арианты 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 2.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39930590"/>
                  </a:ext>
                </a:extLst>
              </a:tr>
              <a:tr h="4208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303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НОО обучающихся с расстройствами 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утистич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спектра.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арианты 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, 8.3. 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8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4580998"/>
                  </a:ext>
                </a:extLst>
              </a:tr>
              <a:tr h="31036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295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НОО слабовидящих обучающихся. Варианты 4.2, 4.3.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571779459"/>
                  </a:ext>
                </a:extLst>
              </a:tr>
              <a:tr h="31036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293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НОО слепых обучающихся. Варианты 3.2, 3.3. 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929892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3749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052</TotalTime>
  <Words>312</Words>
  <Application>Microsoft Office PowerPoint</Application>
  <PresentationFormat>Широкоэкранный</PresentationFormat>
  <Paragraphs>72</Paragraphs>
  <Slides>4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4" baseType="lpstr">
      <vt:lpstr>Arial</vt:lpstr>
      <vt:lpstr>Calibri</vt:lpstr>
      <vt:lpstr>Calibri Light</vt:lpstr>
      <vt:lpstr>Open Sans</vt:lpstr>
      <vt:lpstr>Open Sans Extrabold</vt:lpstr>
      <vt:lpstr>Open Sans Light</vt:lpstr>
      <vt:lpstr>Wingdings</vt:lpstr>
      <vt:lpstr>Тема Office</vt:lpstr>
      <vt:lpstr>5_Тема Office</vt:lpstr>
      <vt:lpstr>Слайд think-cell</vt:lpstr>
      <vt:lpstr>НОВИНКИ ОКТЯБРЯ 2021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User PC Vadim</cp:lastModifiedBy>
  <cp:revision>1233</cp:revision>
  <cp:lastPrinted>2021-03-09T13:01:30Z</cp:lastPrinted>
  <dcterms:created xsi:type="dcterms:W3CDTF">2018-07-24T05:59:49Z</dcterms:created>
  <dcterms:modified xsi:type="dcterms:W3CDTF">2021-08-11T08:32:05Z</dcterms:modified>
</cp:coreProperties>
</file>